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56" r:id="rId5"/>
    <p:sldId id="4848" r:id="rId6"/>
    <p:sldId id="2147375597" r:id="rId7"/>
    <p:sldId id="2147375600" r:id="rId8"/>
    <p:sldId id="2147375601" r:id="rId9"/>
    <p:sldId id="2147375604" r:id="rId10"/>
    <p:sldId id="2147375602" r:id="rId11"/>
    <p:sldId id="1633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84933A-EB5E-44CB-9F26-C3A3949D0B72}" v="7" dt="2024-08-30T14:22:48.055"/>
    <p1510:client id="{DF0BD80A-A041-4F8A-BE7B-DB7C6631019A}" v="7" dt="2024-08-31T14:03:49.6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Hitesh K" userId="84d9e45b5558d026" providerId="LiveId" clId="{DF0BD80A-A041-4F8A-BE7B-DB7C6631019A}"/>
    <pc:docChg chg="undo custSel modSld">
      <pc:chgData name="Hitesh K" userId="84d9e45b5558d026" providerId="LiveId" clId="{DF0BD80A-A041-4F8A-BE7B-DB7C6631019A}" dt="2024-08-31T14:06:30.240" v="139" actId="20577"/>
      <pc:docMkLst>
        <pc:docMk/>
      </pc:docMkLst>
      <pc:sldChg chg="addSp modSp mod">
        <pc:chgData name="Hitesh K" userId="84d9e45b5558d026" providerId="LiveId" clId="{DF0BD80A-A041-4F8A-BE7B-DB7C6631019A}" dt="2024-08-31T13:58:46.939" v="117" actId="20577"/>
        <pc:sldMkLst>
          <pc:docMk/>
          <pc:sldMk cId="245881457" sldId="2147375597"/>
        </pc:sldMkLst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2" creationId="{5C966AD5-65F6-0AEB-3CE1-187A6F01804A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5" creationId="{91EDF2B3-4C0C-5D48-947D-8A51F1861591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6" creationId="{9D593181-5E44-4250-9900-7B9175CC16B6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8" creationId="{3AE7EE35-426D-06E2-996F-76F0E2320548}"/>
          </ac:spMkLst>
        </pc:spChg>
        <pc:spChg chg="mod">
          <ac:chgData name="Hitesh K" userId="84d9e45b5558d026" providerId="LiveId" clId="{DF0BD80A-A041-4F8A-BE7B-DB7C6631019A}" dt="2024-08-31T13:58:46.939" v="117" actId="20577"/>
          <ac:spMkLst>
            <pc:docMk/>
            <pc:sldMk cId="245881457" sldId="2147375597"/>
            <ac:spMk id="11" creationId="{DE9F1BE0-7910-FA1B-DCE8-56EFD1E4FC09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13" creationId="{0F099119-C654-E3B2-6150-4AFD6C2EBD26}"/>
          </ac:spMkLst>
        </pc:spChg>
      </pc:sldChg>
      <pc:sldChg chg="addSp modSp mod">
        <pc:chgData name="Hitesh K" userId="84d9e45b5558d026" providerId="LiveId" clId="{DF0BD80A-A041-4F8A-BE7B-DB7C6631019A}" dt="2024-08-31T14:06:30.240" v="139" actId="20577"/>
        <pc:sldMkLst>
          <pc:docMk/>
          <pc:sldMk cId="1181112711" sldId="2147375600"/>
        </pc:sldMkLst>
        <pc:spChg chg="add">
          <ac:chgData name="Hitesh K" userId="84d9e45b5558d026" providerId="LiveId" clId="{DF0BD80A-A041-4F8A-BE7B-DB7C6631019A}" dt="2024-08-31T14:03:45.314" v="131"/>
          <ac:spMkLst>
            <pc:docMk/>
            <pc:sldMk cId="1181112711" sldId="2147375600"/>
            <ac:spMk id="2" creationId="{59C4438C-8938-A21B-F217-CA030B19AA6D}"/>
          </ac:spMkLst>
        </pc:spChg>
        <pc:spChg chg="mod">
          <ac:chgData name="Hitesh K" userId="84d9e45b5558d026" providerId="LiveId" clId="{DF0BD80A-A041-4F8A-BE7B-DB7C6631019A}" dt="2024-08-31T14:06:30.240" v="139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Hitesh K" userId="84d9e45b5558d026" providerId="LiveId" clId="{DF0BD80A-A041-4F8A-BE7B-DB7C6631019A}" dt="2024-08-31T14:03:47.434" v="132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Hitesh K" userId="84d9e45b5558d026" providerId="LiveId" clId="{DF0BD80A-A041-4F8A-BE7B-DB7C6631019A}" dt="2024-08-31T14:04:09.693" v="138" actId="1076"/>
          <ac:picMkLst>
            <pc:docMk/>
            <pc:sldMk cId="1181112711" sldId="2147375600"/>
            <ac:picMk id="5" creationId="{06357599-010C-679D-350E-C38A1C93F3A5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Hitesh, Hitesh SBOBNG-PTIY/AEC" userId="4b40d14c-6959-4a04-b09b-037994df9ab1" providerId="ADAL" clId="{4C84933A-EB5E-44CB-9F26-C3A3949D0B72}"/>
    <pc:docChg chg="undo redo custSel modSld">
      <pc:chgData name="Hitesh, Hitesh SBOBNG-PTIY/AEC" userId="4b40d14c-6959-4a04-b09b-037994df9ab1" providerId="ADAL" clId="{4C84933A-EB5E-44CB-9F26-C3A3949D0B72}" dt="2024-08-30T14:22:48.055" v="150" actId="1076"/>
      <pc:docMkLst>
        <pc:docMk/>
      </pc:docMkLst>
      <pc:sldChg chg="modSp mod">
        <pc:chgData name="Hitesh, Hitesh SBOBNG-PTIY/AEC" userId="4b40d14c-6959-4a04-b09b-037994df9ab1" providerId="ADAL" clId="{4C84933A-EB5E-44CB-9F26-C3A3949D0B72}" dt="2024-08-30T14:12:40.286" v="7" actId="20577"/>
        <pc:sldMkLst>
          <pc:docMk/>
          <pc:sldMk cId="3267775274" sldId="256"/>
        </pc:sldMkLst>
        <pc:spChg chg="mod">
          <ac:chgData name="Hitesh, Hitesh SBOBNG-PTIY/AEC" userId="4b40d14c-6959-4a04-b09b-037994df9ab1" providerId="ADAL" clId="{4C84933A-EB5E-44CB-9F26-C3A3949D0B72}" dt="2024-08-30T14:12:40.286" v="7" actId="20577"/>
          <ac:spMkLst>
            <pc:docMk/>
            <pc:sldMk cId="3267775274" sldId="256"/>
            <ac:spMk id="6" creationId="{0C37A4A8-A3C7-407F-B123-88E2E165C827}"/>
          </ac:spMkLst>
        </pc:spChg>
      </pc:sldChg>
      <pc:sldChg chg="addSp modSp mod">
        <pc:chgData name="Hitesh, Hitesh SBOBNG-PTIY/AEC" userId="4b40d14c-6959-4a04-b09b-037994df9ab1" providerId="ADAL" clId="{4C84933A-EB5E-44CB-9F26-C3A3949D0B72}" dt="2024-08-30T14:22:48.055" v="150" actId="1076"/>
        <pc:sldMkLst>
          <pc:docMk/>
          <pc:sldMk cId="867832184" sldId="2147375589"/>
        </pc:sldMkLst>
        <pc:spChg chg="mod">
          <ac:chgData name="Hitesh, Hitesh SBOBNG-PTIY/AEC" userId="4b40d14c-6959-4a04-b09b-037994df9ab1" providerId="ADAL" clId="{4C84933A-EB5E-44CB-9F26-C3A3949D0B72}" dt="2024-08-30T14:19:44.466" v="142" actId="20577"/>
          <ac:spMkLst>
            <pc:docMk/>
            <pc:sldMk cId="867832184" sldId="2147375589"/>
            <ac:spMk id="10" creationId="{1119CB9E-042F-11E8-F683-654626D307B3}"/>
          </ac:spMkLst>
        </pc:spChg>
        <pc:spChg chg="mod">
          <ac:chgData name="Hitesh, Hitesh SBOBNG-PTIY/AEC" userId="4b40d14c-6959-4a04-b09b-037994df9ab1" providerId="ADAL" clId="{4C84933A-EB5E-44CB-9F26-C3A3949D0B72}" dt="2024-08-30T14:22:36.629" v="146" actId="1076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Hitesh, Hitesh SBOBNG-PTIY/AEC" userId="4b40d14c-6959-4a04-b09b-037994df9ab1" providerId="ADAL" clId="{4C84933A-EB5E-44CB-9F26-C3A3949D0B72}" dt="2024-08-30T14:22:48.055" v="150" actId="1076"/>
          <ac:picMkLst>
            <pc:docMk/>
            <pc:sldMk cId="867832184" sldId="2147375589"/>
            <ac:picMk id="1026" creationId="{7B66839B-5C78-02A0-9223-3547110A793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1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1895340"/>
            <a:ext cx="10525125" cy="2308324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 – TECHNICAL FOUNDATION</a:t>
            </a:r>
            <a:br>
              <a:rPr lang="en-US" sz="4000" dirty="0"/>
            </a:br>
            <a:r>
              <a:rPr lang="en-US" sz="4000" dirty="0"/>
              <a:t>Reflections for Week 1 (29-Aug-2024 </a:t>
            </a:r>
            <a:r>
              <a:rPr lang="en-US" sz="4000"/>
              <a:t>– 30-Aug-202)</a:t>
            </a:r>
            <a:endParaRPr lang="en-US" sz="4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Hites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Introduction to Business Analysis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ccording to the International Institute of Business Analysis (IIBA), business analysis is the practice of enabling change within an organizational context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Busines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n organization that provides products or services to satisfy customer needs with the objective of making a profit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nalysi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systematic examination.</a:t>
            </a:r>
          </a:p>
          <a:p>
            <a:pPr algn="l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DLC Model (Software Development Life Cycle)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lanning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Involves business analysts to define requirements.</a:t>
            </a: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sign and Prototyping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oftware Development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esting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ployment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Operations and Maintenance</a:t>
            </a:r>
            <a:endParaRPr lang="en-GB" sz="1200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Analysis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The process of defining user expectations for a new or modified software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ype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1200150" lvl="2" indent="-285750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Functional Requirement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Describe what the product does (mandatory).</a:t>
            </a:r>
          </a:p>
          <a:p>
            <a:pPr marL="1200150" lvl="2" indent="-285750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Non-Functional Requirement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Describe how the product works (non-mandatory)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Key Learning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Never assume; always ask. This was emphasized through a team activity where we </a:t>
            </a:r>
            <a:r>
              <a:rPr lang="en-GB" sz="1200" b="0" i="0" dirty="0" err="1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modeled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 a paper airplane.</a:t>
            </a:r>
          </a:p>
          <a:p>
            <a:pPr lvl="1">
              <a:buFont typeface="+mj-lt"/>
              <a:buAutoNum type="arabicPeriod"/>
            </a:pPr>
            <a:endParaRPr lang="en-GB" sz="1200" b="1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Elicitation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The practice of researching and discovering the requirements of a system from users, customers, and other stakeholders. Also known as “requirement gathering.”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p Techniques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Brainstorming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ocument Analysis</a:t>
            </a:r>
          </a:p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</a:t>
            </a:r>
            <a:r>
              <a:rPr lang="en-GB" sz="1100" b="1" i="0" dirty="0" err="1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Modeling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ypes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Class-Based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ata-Based</a:t>
            </a:r>
          </a:p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p Management Techniques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ork Breakdown Structure (WBS)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Essential for effective project planning, execution, controlling, monitoring, and reporting.</a:t>
            </a: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Gantt Charts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Critical Path Method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aterfall Model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Kanban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Traceability</a:t>
            </a:r>
            <a:r>
              <a:rPr lang="en-GB" sz="11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: 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nsures each business need is tied to an actual requirement and each requirement is tied to a deliverable.</a:t>
            </a:r>
          </a:p>
          <a:p>
            <a:pPr algn="l"/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6E4DBA5-C01A-000F-7E6C-FF577F4111D1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aterfall Model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tag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Requirements, Design, Development, Testing, Deployment, Maintenance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dvantag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Simple, easy to understand, good for small requirements, and works well when quality is more important than cost or schedule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isadvantag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Cannot go back to previous stages, customers see the product only at launch, no demos involved.</a:t>
            </a: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hen to Use the Waterfall Model?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s are well-known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duct definition is stable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echnology is understood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veloping a new version of an existing product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orting an existing product to a new platform.</a:t>
            </a: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gile Methods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xampl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daptive Software Development, Feature Driven Development, Scrum, Extreme Programming, Kanban.</a:t>
            </a:r>
            <a:endParaRPr lang="en-GB" sz="1400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Benefits of Scrum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daptability, continuous improvement, sustainable pace, motivation, faster problem resolution, customer-centric, high velocity, efficient development process.</a:t>
            </a:r>
          </a:p>
          <a:p>
            <a:pPr lvl="2"/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6E4DBA5-C01A-000F-7E6C-FF577F4111D1}"/>
              </a:ext>
            </a:extLst>
          </p:cNvPr>
          <p:cNvSpPr txBox="1">
            <a:spLocks/>
          </p:cNvSpPr>
          <p:nvPr/>
        </p:nvSpPr>
        <p:spPr>
          <a:xfrm>
            <a:off x="433726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Flow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2-4 week period to accomplish a goal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ol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duct Owner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Master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Team Member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takeholder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aily Scrum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15-minute daily meeting to review progres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Retrospective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meeting at the end of each sprint to review achievements and plan improvements.</a:t>
            </a: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Events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Planning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Deciding what can be delivered within a sprint and what work is needed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aily Scrum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Reviewing progress toward the sprint goal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Review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Reviewing achievements at the end of each sprint and adapting the product backlog if needed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Retrospective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Inspecting the team’s performance and creating a plan for improvements.</a:t>
            </a:r>
          </a:p>
        </p:txBody>
      </p:sp>
    </p:spTree>
    <p:extLst>
      <p:ext uri="{BB962C8B-B14F-4D97-AF65-F5344CB8AC3E}">
        <p14:creationId xmlns:p14="http://schemas.microsoft.com/office/powerpoint/2010/main" val="3078945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6E4DBA5-C01A-000F-7E6C-FF577F4111D1}"/>
              </a:ext>
            </a:extLst>
          </p:cNvPr>
          <p:cNvSpPr txBox="1">
            <a:spLocks/>
          </p:cNvSpPr>
          <p:nvPr/>
        </p:nvSpPr>
        <p:spPr>
          <a:xfrm>
            <a:off x="433726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duct Backlog for Planning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ject planning is based on a product backlog containing functions and technology enhancement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Meetings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 decide features for the next sprint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 plan out the work.</a:t>
            </a:r>
          </a:p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Queues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Uses lightweight queue-based management and work breakdown mechanisms.</a:t>
            </a:r>
          </a:p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he Sprint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The basic unit of development in Scrum.</a:t>
            </a:r>
          </a:p>
          <a:p>
            <a:pPr lvl="1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uration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One week to one month.</a:t>
            </a:r>
          </a:p>
          <a:p>
            <a:pPr lvl="1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“Time-Boxed”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Effort of a constant length.</a:t>
            </a:r>
          </a:p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etting Up Azure DevOps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tails on setting up and using Azure DevOps for project management and development.</a:t>
            </a:r>
          </a:p>
        </p:txBody>
      </p:sp>
    </p:spTree>
    <p:extLst>
      <p:ext uri="{BB962C8B-B14F-4D97-AF65-F5344CB8AC3E}">
        <p14:creationId xmlns:p14="http://schemas.microsoft.com/office/powerpoint/2010/main" val="3870553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166</TotalTime>
  <Words>656</Words>
  <Application>Microsoft Office PowerPoint</Application>
  <PresentationFormat>Widescreen</PresentationFormat>
  <Paragraphs>90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-apple-system</vt:lpstr>
      <vt:lpstr>Arial</vt:lpstr>
      <vt:lpstr>Calibri</vt:lpstr>
      <vt:lpstr>Office Theme</vt:lpstr>
      <vt:lpstr>think-cell Slide</vt:lpstr>
      <vt:lpstr>PowerPoint Presentation</vt:lpstr>
      <vt:lpstr>PowerPoint Presentation</vt:lpstr>
      <vt:lpstr>Learning 1 | My takeaways</vt:lpstr>
      <vt:lpstr>Learning 2 | My takeaways</vt:lpstr>
      <vt:lpstr>Learning 3 | My takeaways</vt:lpstr>
      <vt:lpstr>Learning 4 | My takeaways</vt:lpstr>
      <vt:lpstr>Learning 4 | My takeaway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Hitesh, Hitesh SBOBNG-PTIY/AEC</cp:lastModifiedBy>
  <cp:revision>515</cp:revision>
  <dcterms:created xsi:type="dcterms:W3CDTF">2022-01-18T12:35:56Z</dcterms:created>
  <dcterms:modified xsi:type="dcterms:W3CDTF">2024-09-01T17:2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